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59" r:id="rId4"/>
  </p:sldIdLst>
  <p:sldSz cx="12192000" cy="6858000"/>
  <p:notesSz cx="6797675" cy="9926638"/>
  <p:custDataLst>
    <p:tags r:id="rId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F95538-30C6-4CF8-BE3C-1B52517B5166}" v="55951" dt="2024-06-18T10:31:39.69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6552" autoAdjust="0"/>
  </p:normalViewPr>
  <p:slideViewPr>
    <p:cSldViewPr snapToGrid="0">
      <p:cViewPr varScale="1">
        <p:scale>
          <a:sx n="114" d="100"/>
          <a:sy n="114" d="100"/>
        </p:scale>
        <p:origin x="30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221575719452744E-2"/>
          <c:y val="4.4368600682593858E-2"/>
          <c:w val="0.94260103789904071"/>
          <c:h val="0.91126279863481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33333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C5C5C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A49-4F78-8B86-D11759D6E5A1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10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49-4F78-8B86-D11759D6E5A1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5858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A49-4F78-8B86-D11759D6E5A1}"/>
              </c:ext>
            </c:extLst>
          </c:dPt>
          <c:val>
            <c:numRef>
              <c:f>Sheet1!$A$2:$B$2</c:f>
              <c:numCache>
                <c:formatCode>General</c:formatCode>
                <c:ptCount val="2"/>
                <c:pt idx="0">
                  <c:v>6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A49-4F78-8B86-D11759D6E5A1}"/>
            </c:ext>
          </c:extLst>
        </c:ser>
        <c:ser>
          <c:idx val="2"/>
          <c:order val="2"/>
          <c:spPr>
            <a:solidFill>
              <a:srgbClr val="2C475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85858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6A49-4F78-8B86-D11759D6E5A1}"/>
              </c:ext>
            </c:extLst>
          </c:dPt>
          <c:val>
            <c:numRef>
              <c:f>Sheet1!$A$3:$B$3</c:f>
              <c:numCache>
                <c:formatCode>General</c:formatCode>
                <c:ptCount val="2"/>
                <c:pt idx="0">
                  <c:v>4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A49-4F78-8B86-D11759D6E5A1}"/>
            </c:ext>
          </c:extLst>
        </c:ser>
        <c:ser>
          <c:idx val="3"/>
          <c:order val="3"/>
          <c:spPr>
            <a:solidFill>
              <a:srgbClr val="CC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C475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6A49-4F78-8B86-D11759D6E5A1}"/>
              </c:ext>
            </c:extLst>
          </c:dPt>
          <c:val>
            <c:numRef>
              <c:f>Sheet1!$A$4:$B$4</c:f>
              <c:numCache>
                <c:formatCode>General</c:formatCode>
                <c:ptCount val="2"/>
                <c:pt idx="0">
                  <c:v>4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A49-4F78-8B86-D11759D6E5A1}"/>
            </c:ext>
          </c:extLst>
        </c:ser>
        <c:ser>
          <c:idx val="4"/>
          <c:order val="4"/>
          <c:spPr>
            <a:solidFill>
              <a:srgbClr val="CC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33333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6A49-4F78-8B86-D11759D6E5A1}"/>
              </c:ext>
            </c:extLst>
          </c:dPt>
          <c:val>
            <c:numRef>
              <c:f>Sheet1!$A$5:$B$5</c:f>
              <c:numCache>
                <c:formatCode>General</c:formatCode>
                <c:ptCount val="2"/>
                <c:pt idx="0">
                  <c:v>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A49-4F78-8B86-D11759D6E5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8794960"/>
        <c:axId val="1"/>
      </c:barChart>
      <c:catAx>
        <c:axId val="418794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8794960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Presentation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5.emf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oleObject" Target="../embeddings/oleObject2.bin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4AAC3D4-F225-AA8F-3CAB-6F303529BE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75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C84F1F2-BAEB-3AF2-A4CA-A1DD2EA6769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4344835"/>
              </p:ext>
            </p:extLst>
          </p:nvPr>
        </p:nvGraphicFramePr>
        <p:xfrm>
          <a:off x="488950" y="1652588"/>
          <a:ext cx="10094913" cy="465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AE16F0-D79F-4B1E-BE55-7051B7D5666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H="1" flipV="1">
            <a:off x="4610100" y="1989138"/>
            <a:ext cx="92075" cy="22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0" name="Text Placeholder">
            <a:extLst>
              <a:ext uri="{FF2B5EF4-FFF2-40B4-BE49-F238E27FC236}">
                <a16:creationId xmlns:a16="http://schemas.microsoft.com/office/drawing/2014/main" id="{140FED50-8995-F89B-34E0-8567F1EFA99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213101" y="5945188"/>
            <a:ext cx="303213" cy="304800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9C14CE3-2A7D-4FD1-8548-224E2377379A}" type="datetime'''''''''''''''''''''''''''''''''''''''''0'''''''''''''''''''">
              <a:rPr lang="en-GB" altLang="en-US" sz="1000" smtClean="0">
                <a:solidFill>
                  <a:srgbClr val="FFFFFF"/>
                </a:solidFill>
              </a:rPr>
              <a:pPr/>
              <a:t>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BB331AF8-9DAB-4E8B-A4CF-78D4A2A68B87}" type="datetime'''''0''''%'''''">
              <a:rPr lang="en-GB" altLang="en-US" sz="1000" smtClean="0">
                <a:solidFill>
                  <a:srgbClr val="FFFFFF"/>
                </a:solidFill>
              </a:rPr>
              <a:pPr/>
              <a:t>0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1" name="Text Placeholder">
            <a:extLst>
              <a:ext uri="{FF2B5EF4-FFF2-40B4-BE49-F238E27FC236}">
                <a16:creationId xmlns:a16="http://schemas.microsoft.com/office/drawing/2014/main" id="{639CFD6A-CD01-D1CA-16FB-0C49A9F9E3F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178176" y="56181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992333A-6CEB-4F2D-A8BB-E779042FA0AC}" type="datetime'''''''''''''''''''''''1''''''''''''''''''''''''''''''''0'">
              <a:rPr lang="en-GB" altLang="en-US" sz="1000" smtClean="0">
                <a:solidFill>
                  <a:srgbClr val="FFFFFF"/>
                </a:solidFill>
              </a:rPr>
              <a:pPr/>
              <a:t>10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8467B0AB-7632-4318-B0F8-16A1CD93D4A9}" type="datetime'''''''''''''''1''5''''''''''''''''''''''''%'''''''''''''">
              <a:rPr lang="en-GB" altLang="en-US" sz="1000" smtClean="0">
                <a:solidFill>
                  <a:srgbClr val="FFFFFF"/>
                </a:solidFill>
              </a:rPr>
              <a:pPr/>
              <a:t>15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2" name="Text Placeholder">
            <a:extLst>
              <a:ext uri="{FF2B5EF4-FFF2-40B4-BE49-F238E27FC236}">
                <a16:creationId xmlns:a16="http://schemas.microsoft.com/office/drawing/2014/main" id="{3FD72AF1-1F17-8403-E0AD-0554B60FEF6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02176" y="1858963"/>
            <a:ext cx="3032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8ABE1EB-0489-431D-84A6-20A624B4266F}" type="datetime'''''''''''''4'''''''''''''''''''''''">
              <a:rPr lang="en-GB" altLang="en-US" sz="10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br>
              <a:rPr lang="en-GB" altLang="en-US" sz="1000">
                <a:solidFill>
                  <a:srgbClr val="000000"/>
                </a:solidFill>
                <a:effectLst/>
              </a:rPr>
            </a:br>
            <a:r>
              <a:rPr lang="en-GB" altLang="en-US" sz="1000">
                <a:solidFill>
                  <a:srgbClr val="000000"/>
                </a:solidFill>
                <a:effectLst/>
              </a:rPr>
              <a:t>(</a:t>
            </a:r>
            <a:fld id="{D102AF17-3876-45B8-AC12-BE577D9CA554}" type="datetime'''''''''''''''''''''''''''''''''''6''''''''''''''''%'''''">
              <a:rPr lang="en-GB" altLang="en-US" sz="10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r>
              <a:rPr lang="en-GB" sz="1000">
                <a:solidFill>
                  <a:srgbClr val="000000"/>
                </a:solidFill>
              </a:rPr>
              <a:t>)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04" name="Text Placeholder">
            <a:extLst>
              <a:ext uri="{FF2B5EF4-FFF2-40B4-BE49-F238E27FC236}">
                <a16:creationId xmlns:a16="http://schemas.microsoft.com/office/drawing/2014/main" id="{D010CFAD-905F-351A-C86F-C4E231D73EC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62288" y="6308725"/>
            <a:ext cx="60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31EBC48-6052-4D31-A38D-025E7CF6A71C}" type="datetime'''F''''''''''''''''''''''''''e''''''ma''''''''''l''''e'''''">
              <a:rPr lang="en-GB" altLang="en-US" smtClean="0">
                <a:solidFill>
                  <a:srgbClr val="000000"/>
                </a:solidFill>
              </a:rPr>
              <a:pPr/>
              <a:t>Female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73" name="Text Placeholder">
            <a:extLst>
              <a:ext uri="{FF2B5EF4-FFF2-40B4-BE49-F238E27FC236}">
                <a16:creationId xmlns:a16="http://schemas.microsoft.com/office/drawing/2014/main" id="{74F7ACB7-289E-7B22-B7F0-20037A6873C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970839" y="5880100"/>
            <a:ext cx="303213" cy="304800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0D8CF21-AC1C-4DBB-B3B5-415E4075E8E1}" type="datetime'''''''''''''''''''''''''''''2'''''''''''''''">
              <a:rPr lang="en-GB" altLang="en-US" sz="1000" smtClean="0">
                <a:solidFill>
                  <a:srgbClr val="FFFFFF"/>
                </a:solidFill>
              </a:rPr>
              <a:pPr/>
              <a:t>2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F39A4E39-CBEF-4B7F-B161-46E5E93D9AD6}" type="datetime'''''''''''''''4''''''''''''''''''''''''''''%'''''">
              <a:rPr lang="en-GB" altLang="en-US" sz="1000" smtClean="0">
                <a:solidFill>
                  <a:srgbClr val="FFFFFF"/>
                </a:solidFill>
              </a:rPr>
              <a:pPr/>
              <a:t>4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4" name="Text Placeholder">
            <a:extLst>
              <a:ext uri="{FF2B5EF4-FFF2-40B4-BE49-F238E27FC236}">
                <a16:creationId xmlns:a16="http://schemas.microsoft.com/office/drawing/2014/main" id="{58357E67-28E3-C5CB-682E-414BCFDE509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935914" y="5292725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718956-F509-42D3-A20E-1FE08D332C8D}" type="datetime'''''''1''''''''''''6'''''''''''''''''''''''''''''">
              <a:rPr lang="en-GB" altLang="en-US" sz="1000" smtClean="0">
                <a:solidFill>
                  <a:srgbClr val="FFFFFF"/>
                </a:solidFill>
              </a:rPr>
              <a:pPr/>
              <a:t>16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51E64FF2-B64F-4986-9823-B692907DDD4F}" type="datetime'''''''''''''''''''2''''''''''''''8''''''''''''%'''''''''''''">
              <a:rPr lang="en-GB" altLang="en-US" sz="1000" smtClean="0">
                <a:solidFill>
                  <a:srgbClr val="FFFFFF"/>
                </a:solidFill>
              </a:rPr>
              <a:pPr/>
              <a:t>28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575" name="Text Placeholder">
            <a:extLst>
              <a:ext uri="{FF2B5EF4-FFF2-40B4-BE49-F238E27FC236}">
                <a16:creationId xmlns:a16="http://schemas.microsoft.com/office/drawing/2014/main" id="{37C79ADE-4F65-F674-905C-468EED7CF90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970839" y="2390775"/>
            <a:ext cx="3032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D94659-6F2E-474F-A229-0E0E5B26FE34}" type="datetime'''''''''''''''''''''''''''''''''''''''5'''''''''''''''''''">
              <a:rPr lang="en-GB" altLang="en-US" sz="1000" smtClean="0">
                <a:solidFill>
                  <a:srgbClr val="FFFFFF"/>
                </a:solidFill>
              </a:rPr>
              <a:pPr/>
              <a:t>5</a:t>
            </a:fld>
            <a:br>
              <a:rPr lang="en-GB" altLang="en-US" sz="1000">
                <a:solidFill>
                  <a:srgbClr val="FFFFFF"/>
                </a:solidFill>
                <a:effectLst/>
              </a:rPr>
            </a:br>
            <a:r>
              <a:rPr lang="en-GB" altLang="en-US" sz="1000">
                <a:solidFill>
                  <a:srgbClr val="FFFFFF"/>
                </a:solidFill>
                <a:effectLst/>
              </a:rPr>
              <a:t>(</a:t>
            </a:r>
            <a:fld id="{F30CDA44-57B8-4849-8265-70E4633D49B2}" type="datetime'''''9''''''''''''''''''''''''''''''''''''''''''%'''''''''''''">
              <a:rPr lang="en-GB" altLang="en-US" sz="1000" smtClean="0">
                <a:solidFill>
                  <a:srgbClr val="FFFFFF"/>
                </a:solidFill>
              </a:rPr>
              <a:pPr/>
              <a:t>9%</a:t>
            </a:fld>
            <a:r>
              <a:rPr lang="en-GB" sz="1000">
                <a:solidFill>
                  <a:srgbClr val="FFFFFF"/>
                </a:solidFill>
              </a:rPr>
              <a:t>)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206" name="Text Placeholder">
            <a:extLst>
              <a:ext uri="{FF2B5EF4-FFF2-40B4-BE49-F238E27FC236}">
                <a16:creationId xmlns:a16="http://schemas.microsoft.com/office/drawing/2014/main" id="{0C971DAA-1B7E-DB77-265D-416B385CAD7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923214" y="6308725"/>
            <a:ext cx="396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2168FDE-2C54-4A94-BF04-3C1E5D1C4595}" type="datetime'''M''''''a''''''''''''''''l''''''e'''''''''''">
              <a:rPr lang="en-GB" altLang="en-US" smtClean="0">
                <a:solidFill>
                  <a:srgbClr val="000000"/>
                </a:solidFill>
              </a:rPr>
              <a:pPr/>
              <a:t>Male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3" name="Text Placeholder">
            <a:extLst>
              <a:ext uri="{FF2B5EF4-FFF2-40B4-BE49-F238E27FC236}">
                <a16:creationId xmlns:a16="http://schemas.microsoft.com/office/drawing/2014/main" id="{A814CC54-DF5B-C1E7-05E5-638F2758246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240088" y="16208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E3FC64-8893-4592-8F7E-9BBB66BF8CA3}" type="datetime'''''''''''6''''''''''''''''''''''5'''''''''''''''''''">
              <a:rPr lang="en-GB" altLang="en-US" smtClean="0">
                <a:solidFill>
                  <a:srgbClr val="000000"/>
                </a:solidFill>
              </a:rPr>
              <a:pPr/>
              <a:t>65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4" name="Text Placeholder">
            <a:extLst>
              <a:ext uri="{FF2B5EF4-FFF2-40B4-BE49-F238E27FC236}">
                <a16:creationId xmlns:a16="http://schemas.microsoft.com/office/drawing/2014/main" id="{BAF6CDA7-4F51-C748-8E84-A8145AED033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997825" y="21431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E38F3C6-751A-4FC1-8CF1-4CA13B8982F5}" type="datetime'''''''''5''''''''''''''7'''''''''''''">
              <a:rPr lang="en-GB" altLang="en-US" smtClean="0">
                <a:solidFill>
                  <a:srgbClr val="000000"/>
                </a:solidFill>
              </a:rPr>
              <a:pPr/>
              <a:t>57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6C02E49B-B59F-D305-9F89-1529834BA53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877550" y="4764088"/>
            <a:ext cx="250825" cy="187325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F77A4378-9007-662F-826E-73A81E99F2C0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877550" y="5027613"/>
            <a:ext cx="250825" cy="187325"/>
          </a:xfrm>
          <a:prstGeom prst="rect">
            <a:avLst/>
          </a:prstGeom>
          <a:solidFill>
            <a:srgbClr val="2C475A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64931B7C-F828-7C9C-29A0-8DF880A4F25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877550" y="5291138"/>
            <a:ext cx="250825" cy="187325"/>
          </a:xfrm>
          <a:prstGeom prst="rect">
            <a:avLst/>
          </a:prstGeom>
          <a:solidFill>
            <a:srgbClr val="858585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2C718877-9863-D863-008B-40A7C888E5F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877550" y="5554663"/>
            <a:ext cx="250825" cy="187325"/>
          </a:xfrm>
          <a:prstGeom prst="rect">
            <a:avLst/>
          </a:prstGeom>
          <a:solidFill>
            <a:srgbClr val="5C5C5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EB6A501D-2FC0-3D47-476C-357F6023050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877550" y="5818188"/>
            <a:ext cx="250825" cy="187325"/>
          </a:xfrm>
          <a:prstGeom prst="rect">
            <a:avLst/>
          </a:prstGeom>
          <a:solidFill>
            <a:srgbClr val="333333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18" name="Text Placeholder">
            <a:extLst>
              <a:ext uri="{FF2B5EF4-FFF2-40B4-BE49-F238E27FC236}">
                <a16:creationId xmlns:a16="http://schemas.microsoft.com/office/drawing/2014/main" id="{722805BB-E55F-2D5D-B1B3-AD10973D1D9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179175" y="4759325"/>
            <a:ext cx="579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3CB5026-3252-46DB-86FD-41731576437D}" type="datetime'''''''W''''''''e''''''''''''''''''''''''''e''k''''''l''y'''''">
              <a:rPr lang="en-GB" altLang="en-US" smtClean="0">
                <a:solidFill>
                  <a:srgbClr val="000000"/>
                </a:solidFill>
              </a:rPr>
              <a:pPr/>
              <a:t>Weekly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20" name="Text Placeholder">
            <a:extLst>
              <a:ext uri="{FF2B5EF4-FFF2-40B4-BE49-F238E27FC236}">
                <a16:creationId xmlns:a16="http://schemas.microsoft.com/office/drawing/2014/main" id="{D73287F0-A3DA-93CE-64B1-F7239456E47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179175" y="5022850"/>
            <a:ext cx="512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8EB772D-AE96-4D5B-BA09-62D0C241CFDD}" type="datetime'''R''''''''ar''''e''''''''''''''''''''''l''''''''y'''''''''">
              <a:rPr lang="en-GB" altLang="en-US" smtClean="0">
                <a:solidFill>
                  <a:srgbClr val="000000"/>
                </a:solidFill>
              </a:rPr>
              <a:pPr/>
              <a:t>Rarely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21" name="Text Placeholder">
            <a:extLst>
              <a:ext uri="{FF2B5EF4-FFF2-40B4-BE49-F238E27FC236}">
                <a16:creationId xmlns:a16="http://schemas.microsoft.com/office/drawing/2014/main" id="{CB4C6DD7-375A-9A56-B6A3-2740B78D44F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179175" y="5286375"/>
            <a:ext cx="473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D48BDC6-B92F-46F0-BB56-377104B1DE00}" type="datetime'''N''''''''''''''e''v''''e''''''r'''''''''''''''''''''''">
              <a:rPr lang="en-GB" altLang="en-US" smtClean="0">
                <a:solidFill>
                  <a:srgbClr val="000000"/>
                </a:solidFill>
              </a:rPr>
              <a:pPr/>
              <a:t>Never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19" name="Text Placeholder">
            <a:extLst>
              <a:ext uri="{FF2B5EF4-FFF2-40B4-BE49-F238E27FC236}">
                <a16:creationId xmlns:a16="http://schemas.microsoft.com/office/drawing/2014/main" id="{DBF0EB55-ECC4-D100-760E-8102D279954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1179175" y="5549900"/>
            <a:ext cx="620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B0ADE6C-2FFE-47B4-9E7C-5A374574FF35}" type="datetime'''''M''''''''''''''''''o''''''''''n''''''t''''hl''''''''''y'''">
              <a:rPr lang="en-GB" altLang="en-US" smtClean="0">
                <a:solidFill>
                  <a:srgbClr val="000000"/>
                </a:solidFill>
              </a:rPr>
              <a:pPr/>
              <a:t>Monthly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16" name="Text Placeholder">
            <a:extLst>
              <a:ext uri="{FF2B5EF4-FFF2-40B4-BE49-F238E27FC236}">
                <a16:creationId xmlns:a16="http://schemas.microsoft.com/office/drawing/2014/main" id="{BDEF87B3-5A5E-4E65-AAC8-70012360CC6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179175" y="5813425"/>
            <a:ext cx="395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A0C3DBD-819B-4B75-8A60-207047ED0AC5}" type="datetime'''D''''''''''a''''''''''''''''''''''''''i''l''y'''''''">
              <a:rPr lang="en-GB" altLang="en-US" smtClean="0">
                <a:solidFill>
                  <a:srgbClr val="000000"/>
                </a:solidFill>
              </a:rPr>
              <a:pPr/>
              <a:t>Daily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10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London"/>
  <p:tag name="THINKCELLPRESENTATIONDONOTDELETE" val="&lt;?xml version=&quot;1.0&quot; encoding=&quot;UTF-16&quot; standalone=&quot;yes&quot;?&gt;&lt;root reqver=&quot;28224&quot;&gt;&lt;version val=&quot;354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XzdeiblyLySfiFVDw8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nZ2GjwCWurBk19nX8a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jJmzMxJX2A6jpnjwY0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bwQXvIji7kEnmjV999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ZNm9CZyw98Y2KdNYB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FF5U8QP3V5l2bufD4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QPYkM_RJuFBdcTUUo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_2t7iWwssw1Jf54ju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K0G4x50Mf2LAOezgI9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8KVnip17A9wG5GgXlt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WhVjl3XeqxY0Cklb4B.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zLEC2f0p7g.HWpFdls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Pj_SlCUG3adC73DK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SPX3xX4CLTIaSdrfXA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iwjtJqh7zLdXYKJ0UY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xbrGJPxsr5zWXZ2mWg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c_NuP41H9Hdk07WDNw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TEBbEjm3a5SQ_qs6z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EtXhzTok9RQ222FCSe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2a57jZv3TvjGzgczTC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aVE0EjgdGGe0229uB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_rcvI3g_lhz_Om3aaQGg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134</TotalTime>
  <Words>39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Bain Core</vt:lpstr>
      <vt:lpstr>think-cell Slide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rmesher, Cameron</dc:creator>
  <cp:lastModifiedBy>azureuser</cp:lastModifiedBy>
  <cp:revision>6</cp:revision>
  <cp:lastPrinted>2017-02-15T14:23:56Z</cp:lastPrinted>
  <dcterms:created xsi:type="dcterms:W3CDTF">2024-06-18T09:15:28Z</dcterms:created>
  <dcterms:modified xsi:type="dcterms:W3CDTF">2024-06-19T13:54:27Z</dcterms:modified>
</cp:coreProperties>
</file>